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378095" r:id="rId2"/>
  </p:sldIdLst>
  <p:sldSz cx="12192000" cy="6858000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93" autoAdjust="0"/>
    <p:restoredTop sz="92038" autoAdjust="0"/>
  </p:normalViewPr>
  <p:slideViewPr>
    <p:cSldViewPr snapToGrid="0">
      <p:cViewPr varScale="1">
        <p:scale>
          <a:sx n="56" d="100"/>
          <a:sy n="56" d="100"/>
        </p:scale>
        <p:origin x="136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0284E6-82E3-4A5A-B78D-FFECA5A77993}" type="datetimeFigureOut">
              <a:rPr lang="en-US" smtClean="0"/>
              <a:t>12/8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9F9E651-5713-4FE0-A808-6D28420FBA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64805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fld id="{CEF26202-E161-4B3D-978B-75C7DA102CA7}" type="slidenum">
              <a:rPr kumimoji="0" lang="en-GB" sz="1200" b="1" i="0" u="none" strike="noStrike" kern="0" cap="none" spc="0" normalizeH="0" baseline="0" noProof="0" smtClean="0">
                <a:ln>
                  <a:noFill/>
                </a:ln>
                <a:solidFill>
                  <a:srgbClr val="BBE0E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1" i="0" u="none" strike="noStrike" kern="0" cap="none" spc="0" normalizeH="0" baseline="0" noProof="0">
              <a:ln>
                <a:noFill/>
              </a:ln>
              <a:solidFill>
                <a:srgbClr val="BBE0E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33006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endParaRPr lang="fr-FR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2296F91-6152-41D7-AFF9-C2A08503BEB3}"/>
              </a:ext>
            </a:extLst>
          </p:cNvPr>
          <p:cNvSpPr txBox="1"/>
          <p:nvPr userDrawn="1"/>
        </p:nvSpPr>
        <p:spPr bwMode="auto">
          <a:xfrm>
            <a:off x="5082902" y="55413"/>
            <a:ext cx="153407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>
              <a:spcAft>
                <a:spcPts val="600"/>
              </a:spcAft>
              <a:buClr>
                <a:schemeClr val="tx1"/>
              </a:buClr>
            </a:pPr>
            <a:r>
              <a:rPr lang="en-GB" sz="1400" b="0" kern="0">
                <a:solidFill>
                  <a:schemeClr val="tx1"/>
                </a:solidFill>
                <a:latin typeface="+mn-lt"/>
                <a:ea typeface="+mn-ea"/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45708189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83EBF3A2-2E7C-4F57-BC5D-3417991A9CB8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304000" y="1416667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7845B65-2392-4819-94E4-E3EB31C4C45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8"/>
            <a:ext cx="7392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55748E-1187-40E6-90FF-F8CB13BAB0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1060961F-7E65-4122-8275-120EE663A9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endParaRPr lang="fr-FR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D1AD628-1E99-41AE-A4DE-E8D47E3F2A00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6" name="Guidance note">
              <a:extLst>
                <a:ext uri="{FF2B5EF4-FFF2-40B4-BE49-F238E27FC236}">
                  <a16:creationId xmlns:a16="http://schemas.microsoft.com/office/drawing/2014/main" id="{C3AD16BC-865F-4730-B576-3924C11BBB5C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918825A-E661-4165-AFAF-DF026ACCBF7D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8" name="Picture 3">
                <a:extLst>
                  <a:ext uri="{FF2B5EF4-FFF2-40B4-BE49-F238E27FC236}">
                    <a16:creationId xmlns:a16="http://schemas.microsoft.com/office/drawing/2014/main" id="{D670EEFD-71A1-460B-93B0-010CABE4F6E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9" name="Rounded Rectangle 20">
                <a:extLst>
                  <a:ext uri="{FF2B5EF4-FFF2-40B4-BE49-F238E27FC236}">
                    <a16:creationId xmlns:a16="http://schemas.microsoft.com/office/drawing/2014/main" id="{518490A9-DA83-4553-86AD-17100E2D20A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1" name="Guidance note">
            <a:extLst>
              <a:ext uri="{FF2B5EF4-FFF2-40B4-BE49-F238E27FC236}">
                <a16:creationId xmlns:a16="http://schemas.microsoft.com/office/drawing/2014/main" id="{00BC0673-5213-4DA3-BE67-C1DB97C4A10F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41915236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FC37DAF-12F7-4FE3-99E2-B1BC731C4CD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7"/>
            <a:ext cx="3456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EC6E2C5-7988-4109-B04E-4C5B434E0D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68000" y="1416667"/>
            <a:ext cx="3456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hart Placeholder 5">
            <a:extLst>
              <a:ext uri="{FF2B5EF4-FFF2-40B4-BE49-F238E27FC236}">
                <a16:creationId xmlns:a16="http://schemas.microsoft.com/office/drawing/2014/main" id="{59BB4BB1-10D0-4A42-B2B1-1F058F0E5999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304000" y="1416667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5803B18-A6C4-48D8-9A57-624954E4C4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03A40AB7-029F-4311-80FC-0AAAE2F69D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endParaRPr lang="fr-FR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D78705A-DCC5-4C39-8BC7-0071FE0B6E9D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8" name="Guidance note">
              <a:extLst>
                <a:ext uri="{FF2B5EF4-FFF2-40B4-BE49-F238E27FC236}">
                  <a16:creationId xmlns:a16="http://schemas.microsoft.com/office/drawing/2014/main" id="{C6E2522F-9DAA-41D3-8636-CA2AD6DF26DE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F8CA62A-2C50-48E5-8954-5C3104C2B475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1" name="Picture 3">
                <a:extLst>
                  <a:ext uri="{FF2B5EF4-FFF2-40B4-BE49-F238E27FC236}">
                    <a16:creationId xmlns:a16="http://schemas.microsoft.com/office/drawing/2014/main" id="{37ACEAC6-5EC9-49C5-A059-7A0DC1FCC3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ounded Rectangle 20">
                <a:extLst>
                  <a:ext uri="{FF2B5EF4-FFF2-40B4-BE49-F238E27FC236}">
                    <a16:creationId xmlns:a16="http://schemas.microsoft.com/office/drawing/2014/main" id="{13E90BA5-7852-4BC3-A7C6-1D57B4B4776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Guidance note">
            <a:extLst>
              <a:ext uri="{FF2B5EF4-FFF2-40B4-BE49-F238E27FC236}">
                <a16:creationId xmlns:a16="http://schemas.microsoft.com/office/drawing/2014/main" id="{395CA386-D2EE-45ED-B3EB-20DC32FFECC9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16910496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91E4EDE-F73E-4D47-BE09-9DA6C99359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endParaRPr lang="fr-FR"/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12275233" y="1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92425066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rt Placeholder 5"/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73914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AF0A20-4521-4105-B244-E4D7D8DC46D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F3D2E9-D3DF-4073-8942-F51EDC9F9B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B8E8D2DA-923C-46FD-AE23-D8997A885C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endParaRPr lang="fr-FR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54C5F39-EE55-4150-AE38-A7A999F3BA25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5" name="Guidance note">
              <a:extLst>
                <a:ext uri="{FF2B5EF4-FFF2-40B4-BE49-F238E27FC236}">
                  <a16:creationId xmlns:a16="http://schemas.microsoft.com/office/drawing/2014/main" id="{025D7FB3-CF69-4E08-8922-003EB4E3975F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528045C4-A569-4BC0-A2C6-680DA682611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7" name="Picture 3">
                <a:extLst>
                  <a:ext uri="{FF2B5EF4-FFF2-40B4-BE49-F238E27FC236}">
                    <a16:creationId xmlns:a16="http://schemas.microsoft.com/office/drawing/2014/main" id="{0FD70A2C-539C-4A23-AF36-00B08ACFA1A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20">
                <a:extLst>
                  <a:ext uri="{FF2B5EF4-FFF2-40B4-BE49-F238E27FC236}">
                    <a16:creationId xmlns:a16="http://schemas.microsoft.com/office/drawing/2014/main" id="{A36B5CC0-766A-45B5-97A8-7C56DFCFC8EE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9" name="Guidance note">
            <a:extLst>
              <a:ext uri="{FF2B5EF4-FFF2-40B4-BE49-F238E27FC236}">
                <a16:creationId xmlns:a16="http://schemas.microsoft.com/office/drawing/2014/main" id="{9FC3F62A-60AD-47BF-8C6C-EA4FD3505A95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8666700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5B49068-D080-4ACE-BA89-F101FF74DD6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A230DD3F-5BD6-47DB-88DD-B17645228A0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5F1110-D46C-45FE-84D5-25150A01F2E3}"/>
              </a:ext>
            </a:extLst>
          </p:cNvPr>
          <p:cNvCxnSpPr>
            <a:cxnSpLocks/>
          </p:cNvCxnSpPr>
          <p:nvPr userDrawn="1"/>
        </p:nvCxnSpPr>
        <p:spPr>
          <a:xfrm>
            <a:off x="431800" y="2957420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544F918-5B29-4CA8-B698-287CEE5C612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1801" y="1416000"/>
            <a:ext cx="1325715" cy="14400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C926757-B24B-4CFA-A750-5FFEEEF69A8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3081529"/>
            <a:ext cx="3456517" cy="146719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867"/>
            </a:lvl1pPr>
            <a:lvl2pPr>
              <a:spcBef>
                <a:spcPts val="0"/>
              </a:spcBef>
              <a:spcAft>
                <a:spcPts val="267"/>
              </a:spcAft>
              <a:defRPr sz="18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6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6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341570-0A8C-4A6D-9F75-3FF3D83330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65364470-3814-46DA-81B6-9B6ABEDC8B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endParaRPr lang="fr-FR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E9C2C4D-4ACC-4F73-A4B9-04807E3ACA87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9" name="Guidance note">
              <a:extLst>
                <a:ext uri="{FF2B5EF4-FFF2-40B4-BE49-F238E27FC236}">
                  <a16:creationId xmlns:a16="http://schemas.microsoft.com/office/drawing/2014/main" id="{E9DBA4A0-469B-42D9-A384-66D0F7F5CF1C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4F513AB0-B464-432C-96F6-C01AE1AD896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1" name="Picture 3">
                <a:extLst>
                  <a:ext uri="{FF2B5EF4-FFF2-40B4-BE49-F238E27FC236}">
                    <a16:creationId xmlns:a16="http://schemas.microsoft.com/office/drawing/2014/main" id="{69D17DA6-BCD4-4046-9D31-CF5D433902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ounded Rectangle 20">
                <a:extLst>
                  <a:ext uri="{FF2B5EF4-FFF2-40B4-BE49-F238E27FC236}">
                    <a16:creationId xmlns:a16="http://schemas.microsoft.com/office/drawing/2014/main" id="{8B82DBD2-6FB6-4465-9E2D-6DA528C0AEC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Round Diagonal Corner Rectangle 4">
            <a:extLst>
              <a:ext uri="{FF2B5EF4-FFF2-40B4-BE49-F238E27FC236}">
                <a16:creationId xmlns:a16="http://schemas.microsoft.com/office/drawing/2014/main" id="{CCFF34D1-F27E-4737-B8CF-F9385F2D624E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1971337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8B2B09D-D81C-4260-912F-CB531B07FB99}"/>
              </a:ext>
            </a:extLst>
          </p:cNvPr>
          <p:cNvCxnSpPr>
            <a:cxnSpLocks/>
          </p:cNvCxnSpPr>
          <p:nvPr userDrawn="1"/>
        </p:nvCxnSpPr>
        <p:spPr>
          <a:xfrm>
            <a:off x="431800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A143F75-F1B4-412B-A3E2-850CC3D2A5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988D91BD-83E2-4D8E-A9D9-FB230B58F4C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1802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C82E8DE-D700-4FDB-B492-FBBE73708601}"/>
              </a:ext>
            </a:extLst>
          </p:cNvPr>
          <p:cNvCxnSpPr>
            <a:cxnSpLocks/>
          </p:cNvCxnSpPr>
          <p:nvPr userDrawn="1"/>
        </p:nvCxnSpPr>
        <p:spPr>
          <a:xfrm>
            <a:off x="4368800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A797DDDD-D10E-4826-9799-F77851FA3A1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68800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BE7E812B-C0C2-4E15-A5E1-88C87117715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368802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5E4984C-A870-48D7-A38E-4D226B28CF21}"/>
              </a:ext>
            </a:extLst>
          </p:cNvPr>
          <p:cNvCxnSpPr>
            <a:cxnSpLocks/>
          </p:cNvCxnSpPr>
          <p:nvPr userDrawn="1"/>
        </p:nvCxnSpPr>
        <p:spPr>
          <a:xfrm>
            <a:off x="8303683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D3ACC50D-43D4-45A0-975F-9B408E6BD14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303683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B3C3C8F3-419D-4EF9-BB29-AE7F1F1732D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303685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BB4D65-DB5D-4395-AECD-E4A4DD1DC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BD674DDD-BACE-4633-A51D-B34FB33EEC8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638300" y="1416000"/>
            <a:ext cx="2250019" cy="1159420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901DDDCC-04BF-4981-893E-E22AFEDF5AC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575300" y="1416000"/>
            <a:ext cx="2250019" cy="1159420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F15142A3-375C-45DF-AF42-2245E24CD46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512300" y="1416000"/>
            <a:ext cx="2250019" cy="1159420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7" name="Footer Placeholder 2">
            <a:extLst>
              <a:ext uri="{FF2B5EF4-FFF2-40B4-BE49-F238E27FC236}">
                <a16:creationId xmlns:a16="http://schemas.microsoft.com/office/drawing/2014/main" id="{45A0E1D1-8595-4E45-A401-A475018540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endParaRPr lang="fr-FR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B815125D-7568-4091-BEEB-35B82C7A282E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44" name="Guidance note">
              <a:extLst>
                <a:ext uri="{FF2B5EF4-FFF2-40B4-BE49-F238E27FC236}">
                  <a16:creationId xmlns:a16="http://schemas.microsoft.com/office/drawing/2014/main" id="{05DADCA8-9F14-4D3E-AEA6-3968A4B99D52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35567F3E-A867-493E-9CDF-6C283ED69FB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46" name="Picture 3">
                <a:extLst>
                  <a:ext uri="{FF2B5EF4-FFF2-40B4-BE49-F238E27FC236}">
                    <a16:creationId xmlns:a16="http://schemas.microsoft.com/office/drawing/2014/main" id="{EF71D8E4-9AAD-42D4-BB7D-BD4FF105C45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7" name="Rounded Rectangle 20">
                <a:extLst>
                  <a:ext uri="{FF2B5EF4-FFF2-40B4-BE49-F238E27FC236}">
                    <a16:creationId xmlns:a16="http://schemas.microsoft.com/office/drawing/2014/main" id="{F43BCCBD-E91E-4385-9D1C-933F4A1EFF49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48" name="Round Diagonal Corner Rectangle 4">
            <a:extLst>
              <a:ext uri="{FF2B5EF4-FFF2-40B4-BE49-F238E27FC236}">
                <a16:creationId xmlns:a16="http://schemas.microsoft.com/office/drawing/2014/main" id="{DCC9EC93-F46B-4A7B-8A65-57D85F810085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52190306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/>
          <a:srcRect l="7480" t="27066" r="32612"/>
          <a:stretch/>
        </p:blipFill>
        <p:spPr>
          <a:xfrm rot="16200000" flipV="1">
            <a:off x="6262073" y="928073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38383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/>
          <a:srcRect l="7480" t="27066" r="32612"/>
          <a:stretch/>
        </p:blipFill>
        <p:spPr>
          <a:xfrm flipV="1">
            <a:off x="5334000" y="1856146"/>
            <a:ext cx="6858000" cy="5001855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6971129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/>
          <a:srcRect r="23305" b="53486"/>
          <a:stretch/>
        </p:blipFill>
        <p:spPr>
          <a:xfrm>
            <a:off x="5855432" y="2771098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082136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1" y="6371168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1897265187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8"/>
            <a:ext cx="73912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5"/>
            <a:ext cx="739282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308CCAE-A613-4894-962F-B9332D979AE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8" name="Guidance note">
              <a:extLst>
                <a:ext uri="{FF2B5EF4-FFF2-40B4-BE49-F238E27FC236}">
                  <a16:creationId xmlns:a16="http://schemas.microsoft.com/office/drawing/2014/main" id="{753381CB-CFAD-4C37-9043-05C8A52380A7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FA04F91-854A-4895-BD97-24C8BB928F41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0" name="Picture 3">
                <a:extLst>
                  <a:ext uri="{FF2B5EF4-FFF2-40B4-BE49-F238E27FC236}">
                    <a16:creationId xmlns:a16="http://schemas.microsoft.com/office/drawing/2014/main" id="{9CABB711-E1AB-41A2-A779-C8967E1B901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" name="Rounded Rectangle 20">
                <a:extLst>
                  <a:ext uri="{FF2B5EF4-FFF2-40B4-BE49-F238E27FC236}">
                    <a16:creationId xmlns:a16="http://schemas.microsoft.com/office/drawing/2014/main" id="{702CAAD7-0480-4B1D-A46C-986161320307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096462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9F52CBFD-699B-45C5-A157-E323D3A6D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416668"/>
            <a:ext cx="5424817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54D8696-31B7-4DB8-B15D-873BDA4653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5184" y="1416668"/>
            <a:ext cx="5424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42441E-8F2C-4081-9DA0-77F80225EC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EB7EAF22-09C0-49C9-9811-75AF4CD216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endParaRPr lang="fr-FR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6800D90-E2FB-42D1-8CB6-1955ED54612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5" name="Guidance note">
              <a:extLst>
                <a:ext uri="{FF2B5EF4-FFF2-40B4-BE49-F238E27FC236}">
                  <a16:creationId xmlns:a16="http://schemas.microsoft.com/office/drawing/2014/main" id="{819ED999-6999-46F4-B7A1-EFF10837A570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1B633B5A-3193-4605-B154-E0B8CB89CCB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7" name="Picture 3">
                <a:extLst>
                  <a:ext uri="{FF2B5EF4-FFF2-40B4-BE49-F238E27FC236}">
                    <a16:creationId xmlns:a16="http://schemas.microsoft.com/office/drawing/2014/main" id="{585F499E-E2AE-40D1-BBDA-189BC79FDB9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20">
                <a:extLst>
                  <a:ext uri="{FF2B5EF4-FFF2-40B4-BE49-F238E27FC236}">
                    <a16:creationId xmlns:a16="http://schemas.microsoft.com/office/drawing/2014/main" id="{752EE2C4-E482-438A-9070-A14C38B6146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446086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0C88B5B-AAF5-47BD-AD69-1EE3F9438DF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416668"/>
            <a:ext cx="5424817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37301" y="1416051"/>
            <a:ext cx="5402583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44373E4D-07C5-468F-A7BD-C7AD22C776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endParaRPr lang="fr-FR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BC6F12F-E651-47EF-873C-C4BCFD73026C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34" name="Guidance note">
              <a:extLst>
                <a:ext uri="{FF2B5EF4-FFF2-40B4-BE49-F238E27FC236}">
                  <a16:creationId xmlns:a16="http://schemas.microsoft.com/office/drawing/2014/main" id="{F95C3436-B6EE-47A5-8CDF-DFC1CEE6A784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F50E3572-442E-4063-AED5-829AB7EAA7C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6" name="Picture 3">
                <a:extLst>
                  <a:ext uri="{FF2B5EF4-FFF2-40B4-BE49-F238E27FC236}">
                    <a16:creationId xmlns:a16="http://schemas.microsoft.com/office/drawing/2014/main" id="{97890FFF-8342-4E6A-B73E-44D0FCF7A25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7" name="Rounded Rectangle 20">
                <a:extLst>
                  <a:ext uri="{FF2B5EF4-FFF2-40B4-BE49-F238E27FC236}">
                    <a16:creationId xmlns:a16="http://schemas.microsoft.com/office/drawing/2014/main" id="{C5F8D64F-558B-4EE8-B969-C40A6125D25D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9" name="Round Diagonal Corner Rectangle 4">
            <a:extLst>
              <a:ext uri="{FF2B5EF4-FFF2-40B4-BE49-F238E27FC236}">
                <a16:creationId xmlns:a16="http://schemas.microsoft.com/office/drawing/2014/main" id="{DEEFE2A4-9E60-4329-8F38-C8621FA2D86F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41937145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5" y="1416051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7"/>
            <a:ext cx="3456319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7"/>
            <a:ext cx="3456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endParaRPr lang="fr-FR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9753115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7"/>
            <a:ext cx="3456319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800" y="1416667"/>
            <a:ext cx="3456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5281" y="1416667"/>
            <a:ext cx="3456000" cy="2092880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8401A2-6451-4E45-96E0-C555AE389B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1993E21-89C4-43F1-B0DA-3D71670B0B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endParaRPr lang="fr-FR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2EC9A99-CBD6-4BA5-A71D-10F2DFE9CFA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6ADE5D12-11A2-4CCE-81CB-203511BF5C3F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E081217D-4EA5-40B0-9EA6-FAD35195E17C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464DB892-B193-4994-87A1-F3005D1BEA0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5" name="Rounded Rectangle 20">
                <a:extLst>
                  <a:ext uri="{FF2B5EF4-FFF2-40B4-BE49-F238E27FC236}">
                    <a16:creationId xmlns:a16="http://schemas.microsoft.com/office/drawing/2014/main" id="{4CE544B9-8DF2-4C6C-B878-A4384379E280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295948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+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7"/>
            <a:ext cx="3456000" cy="3552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800"/>
              </a:spcAft>
              <a:defRPr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2133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21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96A342-D873-47FF-A0CB-ED762BAF6C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F1F48095-532B-4817-BFFB-AF6AF6A81C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endParaRPr lang="fr-FR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2F101B0-C15C-4E8B-BCD8-94C6F9FA8B7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7" name="Guidance note">
              <a:extLst>
                <a:ext uri="{FF2B5EF4-FFF2-40B4-BE49-F238E27FC236}">
                  <a16:creationId xmlns:a16="http://schemas.microsoft.com/office/drawing/2014/main" id="{5019EF20-6B36-43C9-BDEB-3621A64EB545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B21C0FE1-B9EF-4B93-932D-4FD8C477B3AE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9" name="Picture 3">
                <a:extLst>
                  <a:ext uri="{FF2B5EF4-FFF2-40B4-BE49-F238E27FC236}">
                    <a16:creationId xmlns:a16="http://schemas.microsoft.com/office/drawing/2014/main" id="{7C1D4B64-6112-4E50-93D6-4D6DF530DF8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0" name="Rounded Rectangle 20">
                <a:extLst>
                  <a:ext uri="{FF2B5EF4-FFF2-40B4-BE49-F238E27FC236}">
                    <a16:creationId xmlns:a16="http://schemas.microsoft.com/office/drawing/2014/main" id="{4E55863B-5F7C-47FB-BB27-4E84CB7B252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357768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+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AFD44EC-D9DC-4A2D-91EF-9F07DE3F1CE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1999" y="1416667"/>
            <a:ext cx="3456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D6B893-85E5-4E35-9461-E7E97ADE1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2177FB2-8BB7-4D7D-AD52-7C859E8DFE4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04000" y="1416667"/>
            <a:ext cx="3456000" cy="3552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800"/>
              </a:spcAft>
              <a:defRPr sz="240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2133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21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CC0BFDE7-E46E-4D15-A8FA-219C8CB4D4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endParaRPr lang="fr-FR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6F0B578-E378-46F0-A4C9-1552A629C76D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8" name="Guidance note">
              <a:extLst>
                <a:ext uri="{FF2B5EF4-FFF2-40B4-BE49-F238E27FC236}">
                  <a16:creationId xmlns:a16="http://schemas.microsoft.com/office/drawing/2014/main" id="{F2DEB423-320E-404F-8B3B-CCFAFB4B5554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3BE6250-E57A-419B-A962-5A85632A71B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0" name="Picture 3">
                <a:extLst>
                  <a:ext uri="{FF2B5EF4-FFF2-40B4-BE49-F238E27FC236}">
                    <a16:creationId xmlns:a16="http://schemas.microsoft.com/office/drawing/2014/main" id="{3815D591-B560-4B71-ACE3-786F10B3EDF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1" name="Rounded Rectangle 20">
                <a:extLst>
                  <a:ext uri="{FF2B5EF4-FFF2-40B4-BE49-F238E27FC236}">
                    <a16:creationId xmlns:a16="http://schemas.microsoft.com/office/drawing/2014/main" id="{D9C85BF9-7030-4B6C-A627-472B55A9DB3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192915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24DF50-EEA0-4A06-8714-8D21D9F9F1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endParaRPr lang="fr-F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8"/>
            <a:ext cx="7392828" cy="25032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99170905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4A88A16-3F9E-4223-B3F6-C7833E5054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8630502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Slide" r:id="rId24" imgW="395" imgH="394" progId="TCLayout.ActiveDocument.1">
                  <p:embed/>
                </p:oleObj>
              </mc:Choice>
              <mc:Fallback>
                <p:oleObj name="think-cell Slide" r:id="rId2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4A88A16-3F9E-4223-B3F6-C7833E5054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E87E04A-5806-4F7C-86E7-941F263F1D8B}"/>
              </a:ext>
            </a:extLst>
          </p:cNvPr>
          <p:cNvSpPr/>
          <p:nvPr userDrawn="1">
            <p:custDataLst>
              <p:tags r:id="rId2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600"/>
              </a:spcAft>
            </a:pPr>
            <a:endParaRPr lang="en-US" sz="32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5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4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Heading 1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0" y="6320502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46451" y="6320502"/>
            <a:ext cx="959388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1318651" algn="l"/>
              </a:tabLst>
            </a:pPr>
            <a:endParaRPr lang="fr-FR"/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4" y="6320501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51" algn="l"/>
              </a:tabLst>
            </a:pPr>
            <a:r>
              <a:rPr lang="en-GB" sz="1467" b="1"/>
              <a:t>National Grid </a:t>
            </a:r>
          </a:p>
        </p:txBody>
      </p:sp>
    </p:spTree>
    <p:extLst>
      <p:ext uri="{BB962C8B-B14F-4D97-AF65-F5344CB8AC3E}">
        <p14:creationId xmlns:p14="http://schemas.microsoft.com/office/powerpoint/2010/main" val="58785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p:transition>
    <p:fade/>
  </p:transition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4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8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43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7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91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2767">
          <p15:clr>
            <a:srgbClr val="F26B43"/>
          </p15:clr>
        </p15:guide>
        <p15:guide id="4" pos="5556">
          <p15:clr>
            <a:srgbClr val="F26B43"/>
          </p15:clr>
        </p15:guide>
        <p15:guide id="6" orient="horz" pos="2845">
          <p15:clr>
            <a:srgbClr val="F26B43"/>
          </p15:clr>
        </p15:guide>
        <p15:guide id="8" pos="204">
          <p15:clr>
            <a:srgbClr val="F26B43"/>
          </p15:clr>
        </p15:guide>
        <p15:guide id="13" pos="2993">
          <p15:clr>
            <a:srgbClr val="F26B43"/>
          </p15:clr>
        </p15:guide>
        <p15:guide id="14" orient="horz" pos="350">
          <p15:clr>
            <a:srgbClr val="F26B43"/>
          </p15:clr>
        </p15:guide>
        <p15:guide id="15" orient="horz" pos="667">
          <p15:clr>
            <a:srgbClr val="F26B43"/>
          </p15:clr>
        </p15:guide>
        <p15:guide id="16" pos="2064">
          <p15:clr>
            <a:srgbClr val="F26B43"/>
          </p15:clr>
        </p15:guide>
        <p15:guide id="17" pos="3923">
          <p15:clr>
            <a:srgbClr val="F26B43"/>
          </p15:clr>
        </p15:guide>
        <p15:guide id="18" pos="3696">
          <p15:clr>
            <a:srgbClr val="F26B43"/>
          </p15:clr>
        </p15:guide>
        <p15:guide id="19" pos="183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.xml"/><Relationship Id="rId7" Type="http://schemas.openxmlformats.org/officeDocument/2006/relationships/oleObject" Target="../embeddings/oleObject2.bin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.xml"/><Relationship Id="rId9" Type="http://schemas.openxmlformats.org/officeDocument/2006/relationships/image" Target="../media/image7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53D997E-08E6-4BB6-A663-B21E9E61417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3685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53D997E-08E6-4BB6-A663-B21E9E6141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95391B5-C6AD-4B2C-935E-083B52675E08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ts val="450"/>
              </a:spcAft>
              <a:buClr>
                <a:srgbClr val="55555A"/>
              </a:buClr>
            </a:pPr>
            <a:endParaRPr kumimoji="0" lang="en-US" sz="2400" b="1" u="none" strike="noStrike" kern="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D60678B-47F0-4BC6-94B8-F6E12E4A3A7F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endParaRPr kumimoji="0" lang="en-GB" sz="2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95A1497-6F1C-4CA6-8E24-65080311FD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67" y="291740"/>
            <a:ext cx="11181935" cy="574516"/>
          </a:xfrm>
        </p:spPr>
        <p:txBody>
          <a:bodyPr vert="horz"/>
          <a:lstStyle/>
          <a:p>
            <a:r>
              <a:rPr lang="en-US" sz="2400" dirty="0"/>
              <a:t>Green Hydrogen</a:t>
            </a:r>
            <a:endParaRPr lang="en-GB" sz="2400" dirty="0"/>
          </a:p>
        </p:txBody>
      </p:sp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5AFE1385-88AB-406E-9554-6FB26126AF78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4" t="2600" r="3884" b="3409"/>
          <a:stretch/>
        </p:blipFill>
        <p:spPr>
          <a:xfrm>
            <a:off x="2508354" y="1383030"/>
            <a:ext cx="6749945" cy="4069080"/>
          </a:xfrm>
          <a:prstGeom prst="rect">
            <a:avLst/>
          </a:prstGeom>
        </p:spPr>
      </p:pic>
      <p:sp>
        <p:nvSpPr>
          <p:cNvPr id="8" name="Speech Bubble: Rectangle 7">
            <a:extLst>
              <a:ext uri="{FF2B5EF4-FFF2-40B4-BE49-F238E27FC236}">
                <a16:creationId xmlns:a16="http://schemas.microsoft.com/office/drawing/2014/main" id="{196FB81F-176F-4E52-A683-9E23DA6AA62A}"/>
              </a:ext>
            </a:extLst>
          </p:cNvPr>
          <p:cNvSpPr/>
          <p:nvPr/>
        </p:nvSpPr>
        <p:spPr bwMode="auto">
          <a:xfrm>
            <a:off x="9051656" y="3101332"/>
            <a:ext cx="2108528" cy="643486"/>
          </a:xfrm>
          <a:prstGeom prst="wedgeRectCallout">
            <a:avLst>
              <a:gd name="adj1" fmla="val 27394"/>
              <a:gd name="adj2" fmla="val 40801"/>
            </a:avLst>
          </a:prstGeom>
          <a:solidFill>
            <a:schemeClr val="bg1"/>
          </a:solidFill>
          <a:ln w="12700"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r>
              <a:rPr lang="en-US" sz="1600" b="1" dirty="0">
                <a:solidFill>
                  <a:schemeClr val="accent1"/>
                </a:solidFill>
                <a:cs typeface="Arial"/>
              </a:rPr>
              <a:t>Hydrogen storage</a:t>
            </a:r>
          </a:p>
        </p:txBody>
      </p:sp>
      <p:sp>
        <p:nvSpPr>
          <p:cNvPr id="11" name="Speech Bubble: Rectangle 10">
            <a:extLst>
              <a:ext uri="{FF2B5EF4-FFF2-40B4-BE49-F238E27FC236}">
                <a16:creationId xmlns:a16="http://schemas.microsoft.com/office/drawing/2014/main" id="{3ED6AA96-779F-491C-9D95-97BB6B7F619E}"/>
              </a:ext>
            </a:extLst>
          </p:cNvPr>
          <p:cNvSpPr/>
          <p:nvPr/>
        </p:nvSpPr>
        <p:spPr bwMode="auto">
          <a:xfrm>
            <a:off x="9051656" y="4190435"/>
            <a:ext cx="2108529" cy="610974"/>
          </a:xfrm>
          <a:prstGeom prst="wedgeRectCallout">
            <a:avLst>
              <a:gd name="adj1" fmla="val -16054"/>
              <a:gd name="adj2" fmla="val -46551"/>
            </a:avLst>
          </a:prstGeom>
          <a:solidFill>
            <a:schemeClr val="bg1"/>
          </a:solidFill>
          <a:ln w="12700"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>
              <a:spcAft>
                <a:spcPts val="450"/>
              </a:spcAft>
            </a:pPr>
            <a:r>
              <a:rPr lang="en-US" sz="1600" b="1" dirty="0">
                <a:solidFill>
                  <a:schemeClr val="accent1"/>
                </a:solidFill>
                <a:cs typeface="Arial"/>
              </a:rPr>
              <a:t>  Hydrogen supply</a:t>
            </a:r>
          </a:p>
          <a:p>
            <a:pPr>
              <a:spcAft>
                <a:spcPts val="450"/>
              </a:spcAft>
            </a:pPr>
            <a:endParaRPr lang="en-US" sz="1600" b="1" dirty="0">
              <a:solidFill>
                <a:schemeClr val="accent1"/>
              </a:solidFill>
              <a:cs typeface="Arial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D18EC40-03C3-4F16-A409-AAF08264A8B4}"/>
              </a:ext>
            </a:extLst>
          </p:cNvPr>
          <p:cNvCxnSpPr>
            <a:cxnSpLocks/>
          </p:cNvCxnSpPr>
          <p:nvPr/>
        </p:nvCxnSpPr>
        <p:spPr bwMode="auto">
          <a:xfrm>
            <a:off x="8654946" y="4397707"/>
            <a:ext cx="872455" cy="263206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peech Bubble: Rectangle 13">
            <a:extLst>
              <a:ext uri="{FF2B5EF4-FFF2-40B4-BE49-F238E27FC236}">
                <a16:creationId xmlns:a16="http://schemas.microsoft.com/office/drawing/2014/main" id="{DAE76882-C56C-4B04-B3CC-BEB8EE9579B6}"/>
              </a:ext>
            </a:extLst>
          </p:cNvPr>
          <p:cNvSpPr/>
          <p:nvPr/>
        </p:nvSpPr>
        <p:spPr bwMode="auto">
          <a:xfrm>
            <a:off x="9051656" y="1935170"/>
            <a:ext cx="2500630" cy="964287"/>
          </a:xfrm>
          <a:prstGeom prst="wedgeRectCallout">
            <a:avLst>
              <a:gd name="adj1" fmla="val 14819"/>
              <a:gd name="adj2" fmla="val -42837"/>
            </a:avLst>
          </a:prstGeom>
          <a:solidFill>
            <a:schemeClr val="bg1"/>
          </a:solidFill>
          <a:ln w="1270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300"/>
              </a:spcAft>
            </a:pPr>
            <a:r>
              <a:rPr lang="en-US" sz="1600" b="1" dirty="0">
                <a:solidFill>
                  <a:schemeClr val="accent1"/>
                </a:solidFill>
                <a:cs typeface="Arial"/>
              </a:rPr>
              <a:t>Peaker plants transformed to run on 100% Hydrogen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ED1B0E2-1CDB-40F4-9479-56DAC604D322}"/>
              </a:ext>
            </a:extLst>
          </p:cNvPr>
          <p:cNvCxnSpPr>
            <a:cxnSpLocks/>
          </p:cNvCxnSpPr>
          <p:nvPr/>
        </p:nvCxnSpPr>
        <p:spPr bwMode="auto">
          <a:xfrm flipH="1">
            <a:off x="6972301" y="2775547"/>
            <a:ext cx="2555102" cy="51648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peech Bubble: Rectangle 16">
            <a:extLst>
              <a:ext uri="{FF2B5EF4-FFF2-40B4-BE49-F238E27FC236}">
                <a16:creationId xmlns:a16="http://schemas.microsoft.com/office/drawing/2014/main" id="{73BC4AB5-A89D-4673-BA2D-AFE10DE6410F}"/>
              </a:ext>
            </a:extLst>
          </p:cNvPr>
          <p:cNvSpPr/>
          <p:nvPr/>
        </p:nvSpPr>
        <p:spPr bwMode="auto">
          <a:xfrm>
            <a:off x="430373" y="2338277"/>
            <a:ext cx="2319666" cy="501410"/>
          </a:xfrm>
          <a:prstGeom prst="wedgeRectCallout">
            <a:avLst>
              <a:gd name="adj1" fmla="val 27394"/>
              <a:gd name="adj2" fmla="val 40801"/>
            </a:avLst>
          </a:prstGeom>
          <a:solidFill>
            <a:schemeClr val="bg1"/>
          </a:solidFill>
          <a:ln w="12700"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r>
              <a:rPr lang="en-US" sz="1600" b="1" dirty="0">
                <a:solidFill>
                  <a:schemeClr val="accent1"/>
                </a:solidFill>
                <a:cs typeface="Arial"/>
              </a:rPr>
              <a:t>Hydrogen transport</a:t>
            </a:r>
          </a:p>
          <a:p>
            <a:r>
              <a:rPr lang="en-US" sz="1200" dirty="0">
                <a:solidFill>
                  <a:schemeClr val="accent1"/>
                </a:solidFill>
                <a:cs typeface="Arial"/>
              </a:rPr>
              <a:t>	</a:t>
            </a:r>
            <a:endParaRPr lang="en-US" sz="1200" b="0" dirty="0">
              <a:solidFill>
                <a:schemeClr val="accent1"/>
              </a:solidFill>
              <a:cs typeface="Arial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31BC847-DFBF-41E4-B8D3-491A5274ECDC}"/>
              </a:ext>
            </a:extLst>
          </p:cNvPr>
          <p:cNvCxnSpPr>
            <a:cxnSpLocks/>
          </p:cNvCxnSpPr>
          <p:nvPr/>
        </p:nvCxnSpPr>
        <p:spPr bwMode="auto">
          <a:xfrm flipV="1">
            <a:off x="2395183" y="2536500"/>
            <a:ext cx="1904262" cy="163474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8467D29A-3F77-4ACE-8253-FF7522B6356D}"/>
              </a:ext>
            </a:extLst>
          </p:cNvPr>
          <p:cNvSpPr/>
          <p:nvPr/>
        </p:nvSpPr>
        <p:spPr>
          <a:xfrm>
            <a:off x="11115083" y="3299913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48A49C9-5090-4843-A391-3BE70D7AF59B}"/>
              </a:ext>
            </a:extLst>
          </p:cNvPr>
          <p:cNvSpPr/>
          <p:nvPr/>
        </p:nvSpPr>
        <p:spPr>
          <a:xfrm>
            <a:off x="430372" y="688276"/>
            <a:ext cx="1138423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accent1"/>
                </a:solidFill>
                <a:latin typeface="helvetica neue lt w01"/>
              </a:rPr>
              <a:t>National Grid envisions an integrated net zero energy system with </a:t>
            </a:r>
            <a:r>
              <a:rPr lang="en-US" b="1" dirty="0">
                <a:solidFill>
                  <a:schemeClr val="accent1"/>
                </a:solidFill>
                <a:latin typeface="helvetica neue lt w01"/>
              </a:rPr>
              <a:t>clean electricity </a:t>
            </a:r>
            <a:r>
              <a:rPr lang="en-US" dirty="0">
                <a:solidFill>
                  <a:schemeClr val="accent1"/>
                </a:solidFill>
                <a:latin typeface="helvetica neue lt w01"/>
              </a:rPr>
              <a:t>and </a:t>
            </a:r>
            <a:r>
              <a:rPr lang="en-US" b="1" dirty="0">
                <a:solidFill>
                  <a:schemeClr val="accent1"/>
                </a:solidFill>
                <a:latin typeface="helvetica neue lt w01"/>
              </a:rPr>
              <a:t>clean fuels </a:t>
            </a:r>
            <a:r>
              <a:rPr lang="en-US" dirty="0">
                <a:solidFill>
                  <a:schemeClr val="accent1"/>
                </a:solidFill>
                <a:latin typeface="helvetica neue lt w01"/>
              </a:rPr>
              <a:t>like hydrogen meeting demand for </a:t>
            </a:r>
            <a:r>
              <a:rPr lang="en-US" b="1" dirty="0">
                <a:solidFill>
                  <a:schemeClr val="accent1"/>
                </a:solidFill>
                <a:latin typeface="helvetica neue lt w01"/>
              </a:rPr>
              <a:t>power</a:t>
            </a:r>
            <a:r>
              <a:rPr lang="en-US" dirty="0">
                <a:solidFill>
                  <a:schemeClr val="accent1"/>
                </a:solidFill>
                <a:latin typeface="helvetica neue lt w01"/>
              </a:rPr>
              <a:t>, </a:t>
            </a:r>
            <a:r>
              <a:rPr lang="en-US" b="1" dirty="0">
                <a:solidFill>
                  <a:schemeClr val="accent1"/>
                </a:solidFill>
                <a:latin typeface="helvetica neue lt w01"/>
              </a:rPr>
              <a:t>heat</a:t>
            </a:r>
            <a:r>
              <a:rPr lang="en-US" dirty="0">
                <a:solidFill>
                  <a:schemeClr val="accent1"/>
                </a:solidFill>
                <a:latin typeface="helvetica neue lt w01"/>
              </a:rPr>
              <a:t> and </a:t>
            </a:r>
            <a:r>
              <a:rPr lang="en-US" b="1" dirty="0">
                <a:solidFill>
                  <a:schemeClr val="accent1"/>
                </a:solidFill>
                <a:latin typeface="helvetica neue lt w01"/>
              </a:rPr>
              <a:t>transport</a:t>
            </a:r>
            <a:r>
              <a:rPr lang="en-US" dirty="0">
                <a:solidFill>
                  <a:schemeClr val="accent1"/>
                </a:solidFill>
                <a:latin typeface="helvetica neue lt w01"/>
              </a:rPr>
              <a:t>.</a:t>
            </a:r>
            <a:endParaRPr lang="en-US" dirty="0">
              <a:solidFill>
                <a:schemeClr val="accent1"/>
              </a:solidFill>
            </a:endParaRPr>
          </a:p>
          <a:p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DC8B245-7724-46C8-9911-9678A7464B25}"/>
              </a:ext>
            </a:extLst>
          </p:cNvPr>
          <p:cNvSpPr/>
          <p:nvPr/>
        </p:nvSpPr>
        <p:spPr>
          <a:xfrm>
            <a:off x="430372" y="5578536"/>
            <a:ext cx="1126573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1600" dirty="0">
                <a:solidFill>
                  <a:schemeClr val="accent1"/>
                </a:solidFill>
                <a:latin typeface="helvetica neue lt w01"/>
              </a:rPr>
              <a:t>Long Island is well-positioned to become a “Hydrogen Hub” given the high energy demand in the New York City metro area, limited transmission connections, and large offshore wind potential, which could be used to produce green hydrogen. </a:t>
            </a:r>
            <a:endParaRPr lang="en-US" sz="1600" dirty="0">
              <a:solidFill>
                <a:schemeClr val="accent1"/>
              </a:solidFill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F700DBB-AC1B-43D1-B315-CDADBABE3AE4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6402631" y="2815918"/>
            <a:ext cx="3124772" cy="711713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peech Bubble: Rectangle 39">
            <a:extLst>
              <a:ext uri="{FF2B5EF4-FFF2-40B4-BE49-F238E27FC236}">
                <a16:creationId xmlns:a16="http://schemas.microsoft.com/office/drawing/2014/main" id="{F1832D39-1DD7-48B1-A8BD-905625141109}"/>
              </a:ext>
            </a:extLst>
          </p:cNvPr>
          <p:cNvSpPr/>
          <p:nvPr/>
        </p:nvSpPr>
        <p:spPr bwMode="auto">
          <a:xfrm>
            <a:off x="430373" y="3660877"/>
            <a:ext cx="2319666" cy="501410"/>
          </a:xfrm>
          <a:prstGeom prst="wedgeRectCallout">
            <a:avLst>
              <a:gd name="adj1" fmla="val 27394"/>
              <a:gd name="adj2" fmla="val 40801"/>
            </a:avLst>
          </a:prstGeom>
          <a:solidFill>
            <a:schemeClr val="bg1"/>
          </a:solidFill>
          <a:ln w="12700"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r>
              <a:rPr lang="en-US" sz="1600" b="1" dirty="0">
                <a:solidFill>
                  <a:schemeClr val="accent1"/>
                </a:solidFill>
                <a:cs typeface="Arial"/>
              </a:rPr>
              <a:t>Hydrogen heat</a:t>
            </a:r>
          </a:p>
          <a:p>
            <a:r>
              <a:rPr lang="en-US" sz="1200" dirty="0">
                <a:solidFill>
                  <a:schemeClr val="accent1"/>
                </a:solidFill>
                <a:cs typeface="Arial"/>
              </a:rPr>
              <a:t>	</a:t>
            </a:r>
            <a:endParaRPr lang="en-US" sz="1200" b="0" dirty="0">
              <a:solidFill>
                <a:schemeClr val="accent1"/>
              </a:solidFill>
              <a:cs typeface="Arial"/>
            </a:endParaRP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402F5625-5434-41F5-89E4-0FDCFE954963}"/>
              </a:ext>
            </a:extLst>
          </p:cNvPr>
          <p:cNvCxnSpPr>
            <a:cxnSpLocks/>
          </p:cNvCxnSpPr>
          <p:nvPr/>
        </p:nvCxnSpPr>
        <p:spPr bwMode="auto">
          <a:xfrm flipV="1">
            <a:off x="2339684" y="3720647"/>
            <a:ext cx="778674" cy="270305"/>
          </a:xfrm>
          <a:prstGeom prst="line">
            <a:avLst/>
          </a:prstGeom>
          <a:ln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13470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lxd.gvQv39egJgPJ2J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WubnC1Ou33OW7kINwh2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lJ2oFl8GgUuh2OtFiqEg"/>
</p:tagLst>
</file>

<file path=ppt/theme/theme1.xml><?xml version="1.0" encoding="utf-8"?>
<a:theme xmlns:a="http://schemas.openxmlformats.org/drawingml/2006/main" name="1_US NG_2018 PPT__EnergyLines Template 16x9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563C1"/>
      </a:hlink>
      <a:folHlink>
        <a:srgbClr val="954F72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PT EnergyLines 16x9" id="{02A2C634-F83B-4667-9013-9940280A62A9}" vid="{5009B880-53A3-441F-8D33-BFBDCF9468D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55</TotalTime>
  <Words>92</Words>
  <Application>Microsoft Office PowerPoint</Application>
  <PresentationFormat>Widescreen</PresentationFormat>
  <Paragraphs>1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helvetica neue lt w01</vt:lpstr>
      <vt:lpstr>1_US NG_2018 PPT__EnergyLines Template 16x9</vt:lpstr>
      <vt:lpstr>think-cell Slide</vt:lpstr>
      <vt:lpstr>Green Hydroge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ng Island is well positioned to become a hydrogen hub</dc:title>
  <dc:creator>Eichhorst, Courtney</dc:creator>
  <cp:lastModifiedBy>Judson, Judith</cp:lastModifiedBy>
  <cp:revision>9</cp:revision>
  <dcterms:created xsi:type="dcterms:W3CDTF">2021-12-08T18:47:58Z</dcterms:created>
  <dcterms:modified xsi:type="dcterms:W3CDTF">2021-12-09T14:25:55Z</dcterms:modified>
</cp:coreProperties>
</file>